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16"/>
  </p:notesMasterIdLst>
  <p:sldIdLst>
    <p:sldId id="256" r:id="rId6"/>
    <p:sldId id="338" r:id="rId7"/>
    <p:sldId id="267" r:id="rId8"/>
    <p:sldId id="280" r:id="rId9"/>
    <p:sldId id="272" r:id="rId10"/>
    <p:sldId id="341" r:id="rId11"/>
    <p:sldId id="342" r:id="rId12"/>
    <p:sldId id="344" r:id="rId13"/>
    <p:sldId id="316" r:id="rId14"/>
    <p:sldId id="317" r:id="rId15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5D0148-7748-4BE5-92D7-B44B4048679A}" v="3" dt="2023-02-20T16:36:37.4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2029" autoAdjust="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2020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2021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dirty="0">
              <a:latin typeface="Frutiger LT Com 65 Bold" panose="020B0803030504020204" pitchFamily="34" charset="0"/>
            </a:rPr>
            <a:t>2022</a:t>
          </a:r>
          <a:endParaRPr lang="en-US" sz="14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b="1" dirty="0"/>
            <a:t>2023</a:t>
          </a:r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0507EB23-E579-4478-95DE-8B3AF2785525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10: Inaugural workshop 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/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/>
        </a:p>
      </dgm:t>
    </dgm:pt>
    <dgm:pt modelId="{DBCD5B3C-A86D-47A2-8434-08E893599803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975" indent="-180975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12: Meeting</a:t>
          </a:r>
        </a:p>
      </dgm:t>
    </dgm:pt>
    <dgm:pt modelId="{E6ED9BA8-1290-4AB4-B022-0176401CC517}" type="parTrans" cxnId="{0B5FD747-676C-4F70-8EA0-D706FAAD205B}">
      <dgm:prSet/>
      <dgm:spPr/>
      <dgm:t>
        <a:bodyPr/>
        <a:lstStyle/>
        <a:p>
          <a:endParaRPr lang="de-DE"/>
        </a:p>
      </dgm:t>
    </dgm:pt>
    <dgm:pt modelId="{FEF86C3F-064E-4F3B-9B4B-2A707289F53B}" type="sibTrans" cxnId="{0B5FD747-676C-4F70-8EA0-D706FAAD205B}">
      <dgm:prSet/>
      <dgm:spPr/>
      <dgm:t>
        <a:bodyPr/>
        <a:lstStyle/>
        <a:p>
          <a:endParaRPr lang="de-DE"/>
        </a:p>
      </dgm:t>
    </dgm:pt>
    <dgm:pt modelId="{E60CAAF8-428E-4EC6-A91F-FEC80A57B5A5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09: WHO clearance</a:t>
          </a:r>
        </a:p>
      </dgm:t>
    </dgm:pt>
    <dgm:pt modelId="{1643D90C-F6DC-40D5-9CE6-2CC43E23CAE5}" type="parTrans" cxnId="{B2CDDF49-2946-4C25-AA1B-D3A698579505}">
      <dgm:prSet/>
      <dgm:spPr/>
      <dgm:t>
        <a:bodyPr/>
        <a:lstStyle/>
        <a:p>
          <a:endParaRPr lang="de-DE"/>
        </a:p>
      </dgm:t>
    </dgm:pt>
    <dgm:pt modelId="{2A5F5B2F-ADDD-4D6F-8350-633F3CA4D2D0}" type="sibTrans" cxnId="{B2CDDF49-2946-4C25-AA1B-D3A698579505}">
      <dgm:prSet/>
      <dgm:spPr/>
      <dgm:t>
        <a:bodyPr/>
        <a:lstStyle/>
        <a:p>
          <a:endParaRPr lang="de-DE"/>
        </a:p>
      </dgm:t>
    </dgm:pt>
    <dgm:pt modelId="{F120C875-C509-4081-87E6-6350904753BD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2E0E720D-110C-4EE4-9D09-849E526553BD}" type="parTrans" cxnId="{8330F4DB-2FD0-423F-AB4F-95EACD0A5EE0}">
      <dgm:prSet/>
      <dgm:spPr/>
      <dgm:t>
        <a:bodyPr/>
        <a:lstStyle/>
        <a:p>
          <a:endParaRPr lang="de-DE"/>
        </a:p>
      </dgm:t>
    </dgm:pt>
    <dgm:pt modelId="{4AE28C9C-610B-4512-A6F1-FEDBA241D3BF}" type="sibTrans" cxnId="{8330F4DB-2FD0-423F-AB4F-95EACD0A5EE0}">
      <dgm:prSet/>
      <dgm:spPr/>
      <dgm:t>
        <a:bodyPr/>
        <a:lstStyle/>
        <a:p>
          <a:endParaRPr lang="de-DE"/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02/03: ITU approval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/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/>
        </a:p>
      </dgm:t>
    </dgm:pt>
    <dgm:pt modelId="{DD4E9A18-2A8A-4AA0-802F-381B7855DAA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B530A2DD-29FD-49B0-9122-03FC27C2B2DF}" type="parTrans" cxnId="{FF5BCB6A-3DC2-4341-9559-9552C881344C}">
      <dgm:prSet/>
      <dgm:spPr/>
      <dgm:t>
        <a:bodyPr/>
        <a:lstStyle/>
        <a:p>
          <a:endParaRPr lang="de-DE"/>
        </a:p>
      </dgm:t>
    </dgm:pt>
    <dgm:pt modelId="{592B1058-E6E3-4713-B13C-71CDE231CE94}" type="sibTrans" cxnId="{FF5BCB6A-3DC2-4341-9559-9552C881344C}">
      <dgm:prSet/>
      <dgm:spPr/>
      <dgm:t>
        <a:bodyPr/>
        <a:lstStyle/>
        <a:p>
          <a:endParaRPr lang="de-DE"/>
        </a:p>
      </dgm:t>
    </dgm:pt>
    <dgm:pt modelId="{B6AA7AF8-8E5E-423B-AEC6-2E09EFA772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03: LMIC meeting</a:t>
          </a:r>
        </a:p>
      </dgm:t>
    </dgm:pt>
    <dgm:pt modelId="{DC7A4BE5-4896-420E-85A6-C4D22092C1F7}" type="sibTrans" cxnId="{79319D4F-6831-44C3-854B-6DFD55FEB07A}">
      <dgm:prSet/>
      <dgm:spPr/>
      <dgm:t>
        <a:bodyPr/>
        <a:lstStyle/>
        <a:p>
          <a:endParaRPr lang="de-DE"/>
        </a:p>
      </dgm:t>
    </dgm:pt>
    <dgm:pt modelId="{DD3AAC74-1FDB-4118-80FD-2C9569C48377}" type="parTrans" cxnId="{79319D4F-6831-44C3-854B-6DFD55FEB07A}">
      <dgm:prSet/>
      <dgm:spPr/>
      <dgm:t>
        <a:bodyPr/>
        <a:lstStyle/>
        <a:p>
          <a:endParaRPr lang="de-DE"/>
        </a:p>
      </dgm:t>
    </dgm:pt>
    <dgm:pt modelId="{62403018-E2A8-4BCD-A5CB-852ABBE7DB6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04: Review 1 &amp; meeting </a:t>
          </a:r>
        </a:p>
      </dgm:t>
    </dgm:pt>
    <dgm:pt modelId="{F8FA67A1-203D-4C58-BBBE-F741271D58A8}" type="sibTrans" cxnId="{63835FCB-F259-4C25-8657-052136F192D8}">
      <dgm:prSet/>
      <dgm:spPr/>
      <dgm:t>
        <a:bodyPr/>
        <a:lstStyle/>
        <a:p>
          <a:endParaRPr lang="de-DE"/>
        </a:p>
      </dgm:t>
    </dgm:pt>
    <dgm:pt modelId="{DBC92329-ECB9-4BAB-826B-867020D31D06}" type="parTrans" cxnId="{63835FCB-F259-4C25-8657-052136F192D8}">
      <dgm:prSet/>
      <dgm:spPr/>
      <dgm:t>
        <a:bodyPr/>
        <a:lstStyle/>
        <a:p>
          <a:endParaRPr lang="de-DE"/>
        </a:p>
      </dgm:t>
    </dgm:pt>
    <dgm:pt modelId="{E05C9ED9-D6B5-F749-9F8A-04780507B5E4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09: Review 2</a:t>
          </a:r>
        </a:p>
      </dgm:t>
    </dgm:pt>
    <dgm:pt modelId="{16C86B32-B972-B742-ACE6-F64F001AE195}" type="parTrans" cxnId="{333F078A-8BBB-6A47-8CF1-86424B17E05D}">
      <dgm:prSet/>
      <dgm:spPr/>
      <dgm:t>
        <a:bodyPr/>
        <a:lstStyle/>
        <a:p>
          <a:endParaRPr lang="de-DE"/>
        </a:p>
      </dgm:t>
    </dgm:pt>
    <dgm:pt modelId="{0B7436E7-0B2A-FE45-AB80-29EC638F92B3}" type="sibTrans" cxnId="{333F078A-8BBB-6A47-8CF1-86424B17E05D}">
      <dgm:prSet/>
      <dgm:spPr/>
      <dgm:t>
        <a:bodyPr/>
        <a:lstStyle/>
        <a:p>
          <a:endParaRPr lang="de-DE"/>
        </a:p>
      </dgm:t>
    </dgm:pt>
    <dgm:pt modelId="{AB999E15-5A9E-A142-AE25-F41128C4D29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11: Meeting</a:t>
          </a:r>
        </a:p>
      </dgm:t>
    </dgm:pt>
    <dgm:pt modelId="{CFED000F-8713-EF4B-9EEE-D1CAF0A44812}" type="parTrans" cxnId="{8D1BFC95-88D9-AB4A-819A-5B258D1B4788}">
      <dgm:prSet/>
      <dgm:spPr/>
      <dgm:t>
        <a:bodyPr/>
        <a:lstStyle/>
        <a:p>
          <a:endParaRPr lang="de-DE"/>
        </a:p>
      </dgm:t>
    </dgm:pt>
    <dgm:pt modelId="{D2A83767-F445-BE44-801E-970F2732A4A5}" type="sibTrans" cxnId="{8D1BFC95-88D9-AB4A-819A-5B258D1B4788}">
      <dgm:prSet/>
      <dgm:spPr/>
      <dgm:t>
        <a:bodyPr/>
        <a:lstStyle/>
        <a:p>
          <a:endParaRPr lang="de-DE"/>
        </a:p>
      </dgm:t>
    </dgm:pt>
    <dgm:pt modelId="{4BE50766-6D1A-F940-8D3E-31699156F6E9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10: Meeting “future priorities”</a:t>
          </a:r>
        </a:p>
      </dgm:t>
    </dgm:pt>
    <dgm:pt modelId="{6D40DEEE-EC2F-564B-85E7-BB5F2A1E5FF8}" type="parTrans" cxnId="{694F6D0A-7B3E-8F4D-83E1-ADB94726E9C3}">
      <dgm:prSet/>
      <dgm:spPr/>
      <dgm:t>
        <a:bodyPr/>
        <a:lstStyle/>
        <a:p>
          <a:endParaRPr lang="de-DE"/>
        </a:p>
      </dgm:t>
    </dgm:pt>
    <dgm:pt modelId="{B266B8AC-38AD-7244-88E2-A2297DED671E}" type="sibTrans" cxnId="{694F6D0A-7B3E-8F4D-83E1-ADB94726E9C3}">
      <dgm:prSet/>
      <dgm:spPr/>
      <dgm:t>
        <a:bodyPr/>
        <a:lstStyle/>
        <a:p>
          <a:endParaRPr lang="de-DE"/>
        </a:p>
      </dgm:t>
    </dgm:pt>
    <dgm:pt modelId="{39FF7321-A806-5E45-A53D-FB203B3DC49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10/11: Follow up meetings</a:t>
          </a:r>
        </a:p>
      </dgm:t>
    </dgm:pt>
    <dgm:pt modelId="{A62340F8-8C51-6E43-B6C0-3DF2CD432169}" type="parTrans" cxnId="{1E87E2E1-194C-2F4A-8FBC-E2211FC2FAE5}">
      <dgm:prSet/>
      <dgm:spPr/>
      <dgm:t>
        <a:bodyPr/>
        <a:lstStyle/>
        <a:p>
          <a:endParaRPr lang="de-DE"/>
        </a:p>
      </dgm:t>
    </dgm:pt>
    <dgm:pt modelId="{907B7FF3-6D03-454B-A30D-CE8657F742D9}" type="sibTrans" cxnId="{1E87E2E1-194C-2F4A-8FBC-E2211FC2FAE5}">
      <dgm:prSet/>
      <dgm:spPr/>
      <dgm:t>
        <a:bodyPr/>
        <a:lstStyle/>
        <a:p>
          <a:endParaRPr lang="de-DE"/>
        </a:p>
      </dgm:t>
    </dgm:pt>
    <dgm:pt modelId="{859AED8F-8A1E-BA48-82C8-8766A2748B2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Publications (ITU/WHO)</a:t>
          </a:r>
        </a:p>
      </dgm:t>
    </dgm:pt>
    <dgm:pt modelId="{B02C32D2-08E0-F541-87A4-E6893CB93593}" type="parTrans" cxnId="{EC87E4C1-94EF-1846-A01D-093AE4BF6452}">
      <dgm:prSet/>
      <dgm:spPr/>
      <dgm:t>
        <a:bodyPr/>
        <a:lstStyle/>
        <a:p>
          <a:endParaRPr lang="de-DE"/>
        </a:p>
      </dgm:t>
    </dgm:pt>
    <dgm:pt modelId="{FBC55E50-D50A-C549-A0DC-0B4691233F4D}" type="sibTrans" cxnId="{EC87E4C1-94EF-1846-A01D-093AE4BF6452}">
      <dgm:prSet/>
      <dgm:spPr/>
      <dgm:t>
        <a:bodyPr/>
        <a:lstStyle/>
        <a:p>
          <a:endParaRPr lang="de-DE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4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4" custLinFactNeighborX="238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2" presStyleCnt="4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3" presStyleCnt="4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26D83005-2481-4448-8554-976BA5AEB4FC}" type="presOf" srcId="{E05C9ED9-D6B5-F749-9F8A-04780507B5E4}" destId="{CE4FB90A-23D3-624D-9472-058615351CBF}" srcOrd="0" destOrd="3" presId="urn:microsoft.com/office/officeart/2005/8/layout/hChevron3"/>
    <dgm:cxn modelId="{694F6D0A-7B3E-8F4D-83E1-ADB94726E9C3}" srcId="{2A22E84C-3AA3-4E9C-AE5F-9C2FB0D7FB11}" destId="{4BE50766-6D1A-F940-8D3E-31699156F6E9}" srcOrd="1" destOrd="0" parTransId="{6D40DEEE-EC2F-564B-85E7-BB5F2A1E5FF8}" sibTransId="{B266B8AC-38AD-7244-88E2-A2297DED671E}"/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61D7941F-5EBF-492C-9D57-B49C1BE1EA1C}" type="presOf" srcId="{B6AA7AF8-8E5E-423B-AEC6-2E09EFA77200}" destId="{CE4FB90A-23D3-624D-9472-058615351CBF}" srcOrd="0" destOrd="1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019353B-443B-4DED-AA6C-3C60E18414C7}" srcId="{B9C32B05-62EA-407A-B21C-2310C7945705}" destId="{36045517-CEA4-4BE3-B836-C2B6BFE5649B}" srcOrd="3" destOrd="0" parTransId="{6231A36F-9B04-4B4A-917A-7E163AFFC956}" sibTransId="{BFF3C5ED-87D0-4709-A3B8-A7BF0668006A}"/>
    <dgm:cxn modelId="{C372D560-F3C4-4CD5-91B5-7198B58A4521}" type="presOf" srcId="{DBCD5B3C-A86D-47A2-8434-08E893599803}" destId="{B9826503-FF9C-6249-9C5E-E871F59DF66E}" srcOrd="0" destOrd="2" presId="urn:microsoft.com/office/officeart/2005/8/layout/hChevron3"/>
    <dgm:cxn modelId="{B6B86044-5BC8-FE46-9BCF-5CF76809D2F5}" type="presOf" srcId="{AB999E15-5A9E-A142-AE25-F41128C4D291}" destId="{CE4FB90A-23D3-624D-9472-058615351CBF}" srcOrd="0" destOrd="4" presId="urn:microsoft.com/office/officeart/2005/8/layout/hChevron3"/>
    <dgm:cxn modelId="{A32A0746-47D7-A044-B39A-6BBB4F69D964}" type="presOf" srcId="{4BE50766-6D1A-F940-8D3E-31699156F6E9}" destId="{06E132D3-40E2-204E-AF8C-A0D9B0AEDE48}" srcOrd="0" destOrd="2" presId="urn:microsoft.com/office/officeart/2005/8/layout/hChevron3"/>
    <dgm:cxn modelId="{0B5FD747-676C-4F70-8EA0-D706FAAD205B}" srcId="{42D71409-67F9-455C-8C6D-716D284AAA6B}" destId="{DBCD5B3C-A86D-47A2-8434-08E893599803}" srcOrd="1" destOrd="0" parTransId="{E6ED9BA8-1290-4AB4-B022-0176401CC517}" sibTransId="{FEF86C3F-064E-4F3B-9B4B-2A707289F53B}"/>
    <dgm:cxn modelId="{B2CDDF49-2946-4C25-AA1B-D3A698579505}" srcId="{2A22E84C-3AA3-4E9C-AE5F-9C2FB0D7FB11}" destId="{E60CAAF8-428E-4EC6-A91F-FEC80A57B5A5}" srcOrd="0" destOrd="0" parTransId="{1643D90C-F6DC-40D5-9CE6-2CC43E23CAE5}" sibTransId="{2A5F5B2F-ADDD-4D6F-8350-633F3CA4D2D0}"/>
    <dgm:cxn modelId="{FF5BCB6A-3DC2-4341-9559-9552C881344C}" srcId="{36045517-CEA4-4BE3-B836-C2B6BFE5649B}" destId="{DD4E9A18-2A8A-4AA0-802F-381B7855DAA1}" srcOrd="2" destOrd="0" parTransId="{B530A2DD-29FD-49B0-9122-03FC27C2B2DF}" sibTransId="{592B1058-E6E3-4713-B13C-71CDE231CE94}"/>
    <dgm:cxn modelId="{79319D4F-6831-44C3-854B-6DFD55FEB07A}" srcId="{F66099B6-DBBD-4AB0-82D2-877B80F846F7}" destId="{B6AA7AF8-8E5E-423B-AEC6-2E09EFA77200}" srcOrd="0" destOrd="0" parTransId="{DD3AAC74-1FDB-4118-80FD-2C9569C48377}" sibTransId="{DC7A4BE5-4896-420E-85A6-C4D22092C1F7}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06A6BA89-3251-4B4B-BFF9-C5C71D022B5A}" type="presOf" srcId="{859AED8F-8A1E-BA48-82C8-8766A2748B28}" destId="{182A42C9-E9CF-A141-834A-3F05F838D1A7}" srcOrd="0" destOrd="2" presId="urn:microsoft.com/office/officeart/2005/8/layout/hChevron3"/>
    <dgm:cxn modelId="{499AFE89-1C22-4809-A31B-44BC6F87F2FD}" type="presOf" srcId="{DD4E9A18-2A8A-4AA0-802F-381B7855DAA1}" destId="{182A42C9-E9CF-A141-834A-3F05F838D1A7}" srcOrd="0" destOrd="3" presId="urn:microsoft.com/office/officeart/2005/8/layout/hChevron3"/>
    <dgm:cxn modelId="{333F078A-8BBB-6A47-8CF1-86424B17E05D}" srcId="{F66099B6-DBBD-4AB0-82D2-877B80F846F7}" destId="{E05C9ED9-D6B5-F749-9F8A-04780507B5E4}" srcOrd="2" destOrd="0" parTransId="{16C86B32-B972-B742-ACE6-F64F001AE195}" sibTransId="{0B7436E7-0B2A-FE45-AB80-29EC638F92B3}"/>
    <dgm:cxn modelId="{F3A4758F-9A87-2C42-84ED-AA4E8390D207}" type="presOf" srcId="{39FF7321-A806-5E45-A53D-FB203B3DC498}" destId="{06E132D3-40E2-204E-AF8C-A0D9B0AEDE48}" srcOrd="0" destOrd="3" presId="urn:microsoft.com/office/officeart/2005/8/layout/hChevron3"/>
    <dgm:cxn modelId="{8D1BFC95-88D9-AB4A-819A-5B258D1B4788}" srcId="{F66099B6-DBBD-4AB0-82D2-877B80F846F7}" destId="{AB999E15-5A9E-A142-AE25-F41128C4D291}" srcOrd="3" destOrd="0" parTransId="{CFED000F-8713-EF4B-9EEE-D1CAF0A44812}" sibTransId="{D2A83767-F445-BE44-801E-970F2732A4A5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448C13BD-94AB-47FD-A3E5-F77C1D4F29A1}" type="presOf" srcId="{E60CAAF8-428E-4EC6-A91F-FEC80A57B5A5}" destId="{06E132D3-40E2-204E-AF8C-A0D9B0AEDE48}" srcOrd="0" destOrd="1" presId="urn:microsoft.com/office/officeart/2005/8/layout/hChevron3"/>
    <dgm:cxn modelId="{EC87E4C1-94EF-1846-A01D-093AE4BF6452}" srcId="{36045517-CEA4-4BE3-B836-C2B6BFE5649B}" destId="{859AED8F-8A1E-BA48-82C8-8766A2748B28}" srcOrd="1" destOrd="0" parTransId="{B02C32D2-08E0-F541-87A4-E6893CB93593}" sibTransId="{FBC55E50-D50A-C549-A0DC-0B4691233F4D}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63835FCB-F259-4C25-8657-052136F192D8}" srcId="{F66099B6-DBBD-4AB0-82D2-877B80F846F7}" destId="{62403018-E2A8-4BCD-A5CB-852ABBE7DB63}" srcOrd="1" destOrd="0" parTransId="{DBC92329-ECB9-4BAB-826B-867020D31D06}" sibTransId="{F8FA67A1-203D-4C58-BBBE-F741271D58A8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AAFDC6CD-9789-4F2F-9856-AFA5819D6635}" type="presOf" srcId="{F120C875-C509-4081-87E6-6350904753BD}" destId="{06E132D3-40E2-204E-AF8C-A0D9B0AEDE48}" srcOrd="0" destOrd="4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8330F4DB-2FD0-423F-AB4F-95EACD0A5EE0}" srcId="{2A22E84C-3AA3-4E9C-AE5F-9C2FB0D7FB11}" destId="{F120C875-C509-4081-87E6-6350904753BD}" srcOrd="3" destOrd="0" parTransId="{2E0E720D-110C-4EE4-9D09-849E526553BD}" sibTransId="{4AE28C9C-610B-4512-A6F1-FEDBA241D3BF}"/>
    <dgm:cxn modelId="{1E87E2E1-194C-2F4A-8FBC-E2211FC2FAE5}" srcId="{2A22E84C-3AA3-4E9C-AE5F-9C2FB0D7FB11}" destId="{39FF7321-A806-5E45-A53D-FB203B3DC498}" srcOrd="2" destOrd="0" parTransId="{A62340F8-8C51-6E43-B6C0-3DF2CD432169}" sibTransId="{907B7FF3-6D03-454B-A30D-CE8657F742D9}"/>
    <dgm:cxn modelId="{BEB859E7-C343-408E-86A1-667C27EE5761}" srcId="{B9C32B05-62EA-407A-B21C-2310C7945705}" destId="{2A22E84C-3AA3-4E9C-AE5F-9C2FB0D7FB11}" srcOrd="2" destOrd="0" parTransId="{6C025E55-DF42-4C5D-AFD5-6015FA053D46}" sibTransId="{744EA591-F199-49C2-B63A-82709D96C729}"/>
    <dgm:cxn modelId="{BE9378EA-E4EB-4B11-9EC5-897E9C08EFC2}" type="presOf" srcId="{62403018-E2A8-4BCD-A5CB-852ABBE7DB63}" destId="{CE4FB90A-23D3-624D-9472-058615351CBF}" srcOrd="0" destOrd="2" presId="urn:microsoft.com/office/officeart/2005/8/layout/hChevron3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180A4A5F-14AD-1B4A-9A63-493764DC42F5}" type="presParOf" srcId="{AB306E7F-BBFE-4840-97DE-4860B97247CD}" destId="{06E132D3-40E2-204E-AF8C-A0D9B0AEDE48}" srcOrd="4" destOrd="0" presId="urn:microsoft.com/office/officeart/2005/8/layout/hChevron3"/>
    <dgm:cxn modelId="{6B7BD185-3558-7640-B604-34855655EFEF}" type="presParOf" srcId="{AB306E7F-BBFE-4840-97DE-4860B97247CD}" destId="{0533F1AC-E484-2A4A-87E0-4742A07FFE2C}" srcOrd="5" destOrd="0" presId="urn:microsoft.com/office/officeart/2005/8/layout/hChevron3"/>
    <dgm:cxn modelId="{D119BBE3-A07C-C14E-B21C-1D5467E28D9F}" type="presParOf" srcId="{AB306E7F-BBFE-4840-97DE-4860B97247CD}" destId="{182A42C9-E9CF-A141-834A-3F05F838D1A7}" srcOrd="6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3022" y="134138"/>
          <a:ext cx="3032979" cy="2426383"/>
        </a:xfrm>
        <a:prstGeom prst="homePlate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42798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2020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10: Inaugural workshop </a:t>
          </a:r>
        </a:p>
        <a:p>
          <a:pPr marL="180975" lvl="1" indent="-180975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12: Meeting</a:t>
          </a:r>
        </a:p>
      </dsp:txBody>
      <dsp:txXfrm>
        <a:off x="3022" y="134138"/>
        <a:ext cx="2729681" cy="2426383"/>
      </dsp:txXfrm>
    </dsp:sp>
    <dsp:sp modelId="{CE4FB90A-23D3-624D-9472-058615351CBF}">
      <dsp:nvSpPr>
        <dsp:cNvPr id="0" name=""/>
        <dsp:cNvSpPr/>
      </dsp:nvSpPr>
      <dsp:spPr>
        <a:xfrm>
          <a:off x="2430850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2021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03: LMIC meeting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04: Review 1 &amp; meeting 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09: Review 2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11: Meeting</a:t>
          </a:r>
        </a:p>
      </dsp:txBody>
      <dsp:txXfrm>
        <a:off x="3037446" y="134138"/>
        <a:ext cx="1819787" cy="2426383"/>
      </dsp:txXfrm>
    </dsp:sp>
    <dsp:sp modelId="{06E132D3-40E2-204E-AF8C-A0D9B0AEDE48}">
      <dsp:nvSpPr>
        <dsp:cNvPr id="0" name=""/>
        <dsp:cNvSpPr/>
      </dsp:nvSpPr>
      <dsp:spPr>
        <a:xfrm>
          <a:off x="4860691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Frutiger LT Com 65 Bold" panose="020B0803030504020204" pitchFamily="34" charset="0"/>
            </a:rPr>
            <a:t>2022</a:t>
          </a:r>
          <a:endParaRPr lang="en-US" sz="1400" kern="1200" dirty="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09: WHO clearance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10: Meeting “future priorities”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10/11: Follow up meetings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5467287" y="134138"/>
        <a:ext cx="1819787" cy="2426383"/>
      </dsp:txXfrm>
    </dsp:sp>
    <dsp:sp modelId="{182A42C9-E9CF-A141-834A-3F05F838D1A7}">
      <dsp:nvSpPr>
        <dsp:cNvPr id="0" name=""/>
        <dsp:cNvSpPr/>
      </dsp:nvSpPr>
      <dsp:spPr>
        <a:xfrm>
          <a:off x="7285197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5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2023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02/03: ITU approval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Publications (ITU/WHO)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7891793" y="134138"/>
        <a:ext cx="1819787" cy="2426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7392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5843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7444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745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7341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59519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917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05893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1349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942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83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16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462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605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452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7123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814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E6BEEC3F-C136-4E04-8E02-6DF963A6E721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901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2179119F-C342-4DBA-9211-F4375B7FF2D1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57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FC469E6C-F598-4F80-AB6C-46A0783E2A2E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391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BE4F662B-8B67-467B-B579-81B65A21735B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8202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78088260-380C-400E-94F1-80576C9596AC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0765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84AC2951-09AD-4688-B783-DAE1ADDED63E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41331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79225054-8F4D-4B67-8803-E473E83FD8A6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64071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862B3568-9F39-45BA-8ABC-B5488CC74074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4352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0047F9E9-11D7-474D-A6DA-3492ADD97332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0645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B09DD79-ED55-4B70-88EA-06391A367C88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27553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65A82B2D-840F-4167-AD44-C02BC9C87CCB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59528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9631443C-B870-41CA-8630-426F79C7DA41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6661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ED9D36A6-A034-4164-BBE1-F8AE84912B9F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378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6BBE7333-2DF4-417D-84A6-4C1EC6024486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161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D4E2D0BE-C1C0-4F7D-8CA3-1AB441DBDBE6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265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4040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9DE324B6-D7C2-429F-9563-54E4F47990AC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77777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181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652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186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03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077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6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4.xml"/><Relationship Id="rId6" Type="http://schemas.openxmlformats.org/officeDocument/2006/relationships/diagramData" Target="../diagrams/data1.xml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4.bin"/><Relationship Id="rId9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802193" y="845674"/>
            <a:ext cx="1965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R-039-A0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7738248" y="1215006"/>
            <a:ext cx="30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Cambridge, 21-24 March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145221"/>
              </p:ext>
            </p:extLst>
          </p:nvPr>
        </p:nvGraphicFramePr>
        <p:xfrm>
          <a:off x="1424267" y="3274055"/>
          <a:ext cx="9343465" cy="1965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86646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97961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de-DE" dirty="0"/>
                        <a:t>HHI.fraunhofer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.7 - Presentation - Challenges of development &amp; deployment of AI in clinical settings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a Weicke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eva.weicken@hhi.fraunhofer.de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dirty="0">
                          <a:effectLst/>
                        </a:rPr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PPT contains a presentation on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llenges of development &amp; deployment of AI in clinical settings given in the workshop on 21 March 2023</a:t>
                      </a:r>
                      <a:r>
                        <a:rPr lang="en-US" sz="1800" dirty="0"/>
                        <a:t>.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1986698"/>
          </a:xfrm>
        </p:spPr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for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241A9665-E7C3-45A5-6F88-B30D8245B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095266"/>
            <a:ext cx="11712575" cy="3762734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>
              <a:lnSpc>
                <a:spcPct val="100000"/>
              </a:lnSpc>
            </a:pPr>
            <a:r>
              <a:rPr lang="de-DE" sz="3200" dirty="0">
                <a:solidFill>
                  <a:prstClr val="white"/>
                </a:solidFill>
                <a:latin typeface="Frutiger LT Com 45 Light"/>
              </a:rPr>
              <a:t>Workshop „C</a:t>
            </a:r>
            <a:r>
              <a:rPr lang="de-DE" dirty="0">
                <a:solidFill>
                  <a:prstClr val="white"/>
                </a:solidFill>
                <a:latin typeface="Frutiger LT Com 45 Light"/>
              </a:rPr>
              <a:t>hallenges of development &amp; deployment of AI 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olidFill>
                  <a:prstClr val="white"/>
                </a:solidFill>
                <a:latin typeface="Frutiger LT Com 45 Light"/>
              </a:rPr>
              <a:t>in clinical settings“</a:t>
            </a:r>
          </a:p>
          <a:p>
            <a:pPr lvl="2">
              <a:lnSpc>
                <a:spcPct val="100000"/>
              </a:lnSpc>
            </a:pPr>
            <a:endParaRPr lang="de-DE" dirty="0">
              <a:solidFill>
                <a:prstClr val="white"/>
              </a:solidFill>
              <a:latin typeface="Frutiger LT Com 45 Light"/>
            </a:endParaRPr>
          </a:p>
          <a:p>
            <a:pPr lvl="2">
              <a:lnSpc>
                <a:spcPct val="100000"/>
              </a:lnSpc>
            </a:pPr>
            <a:r>
              <a:rPr lang="de-DE" sz="1600" i="1" dirty="0"/>
              <a:t>21 March 2023, MIT Kresge Auditorium, Cambridge, US</a:t>
            </a:r>
            <a:endParaRPr lang="de-DE" sz="1600" dirty="0">
              <a:solidFill>
                <a:prstClr val="white"/>
              </a:solidFill>
              <a:latin typeface="Frutiger LT Com 45 Light"/>
            </a:endParaRPr>
          </a:p>
          <a:p>
            <a:pPr lvl="2"/>
            <a:r>
              <a:rPr lang="de-DE" dirty="0"/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FB12B8D-18B3-3626-57FD-334CE2F656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5675" y="549275"/>
            <a:ext cx="31369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0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3515229"/>
            <a:ext cx="7168102" cy="1250599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volution &amp; Milestones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02C20785-9C30-033A-4681-9422CAE9B699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Pflanze, Screenshot enthält.&#10;&#10;Automatisch generierte Beschreibung">
            <a:extLst>
              <a:ext uri="{FF2B5EF4-FFF2-40B4-BE49-F238E27FC236}">
                <a16:creationId xmlns:a16="http://schemas.microsoft.com/office/drawing/2014/main" id="{C5D38040-6CEB-99CA-E2FB-6E32028108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4987" y="1613852"/>
            <a:ext cx="2914915" cy="412181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56014B2-7062-42AF-9354-F0B970367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Purpose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FF59F70-1B8A-43C1-8688-5D285BB4DE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8933"/>
          </a:xfrm>
        </p:spPr>
        <p:txBody>
          <a:bodyPr/>
          <a:lstStyle/>
          <a:p>
            <a:r>
              <a:rPr lang="de-DE" dirty="0"/>
              <a:t>What‘s it all about? </a:t>
            </a:r>
            <a:endParaRPr lang="en-US" dirty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A9143AE3-787F-4666-839A-090830194774}"/>
              </a:ext>
            </a:extLst>
          </p:cNvPr>
          <p:cNvSpPr txBox="1">
            <a:spLocks/>
          </p:cNvSpPr>
          <p:nvPr/>
        </p:nvSpPr>
        <p:spPr bwMode="gray">
          <a:xfrm>
            <a:off x="839425" y="3674761"/>
            <a:ext cx="6410247" cy="2289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Main goals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llaboration with other expert groups &amp; global stakeholders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st practice evaluation and principles 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pecial consideration LMIC settings 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Framework for: clinicians, researchers, developers,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regulators, policy makers &amp; patients, public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fine gaps for future research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o be used with other FG-AI4H guidance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1AA0ED9-13C3-4BA1-B989-B4F0717EDC14}"/>
              </a:ext>
            </a:extLst>
          </p:cNvPr>
          <p:cNvSpPr txBox="1">
            <a:spLocks/>
          </p:cNvSpPr>
          <p:nvPr/>
        </p:nvSpPr>
        <p:spPr bwMode="gray">
          <a:xfrm>
            <a:off x="839425" y="1594029"/>
            <a:ext cx="6052119" cy="1589209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288000" tIns="288000" rIns="486000" bIns="28800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1" kern="1200">
                <a:solidFill>
                  <a:schemeClr val="bg1"/>
                </a:solidFill>
                <a:latin typeface="Frutiger LT Com 55 Roman" panose="020B05030305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Framework on clinical evaluation</a:t>
            </a:r>
          </a:p>
          <a:p>
            <a:pPr marL="0" marR="0" lvl="1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55 Roman" panose="020B050303050402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sign &amp; Purpose – Algorithmic validation - Clinical validation – Ongoing monitoring – Ethics – Economic evaluation</a:t>
            </a:r>
          </a:p>
        </p:txBody>
      </p:sp>
    </p:spTree>
    <p:extLst>
      <p:ext uri="{BB962C8B-B14F-4D97-AF65-F5344CB8AC3E}">
        <p14:creationId xmlns:p14="http://schemas.microsoft.com/office/powerpoint/2010/main" val="13503798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Collabor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778321"/>
            <a:ext cx="11233150" cy="318933"/>
          </a:xfrm>
        </p:spPr>
        <p:txBody>
          <a:bodyPr numCol="1"/>
          <a:lstStyle/>
          <a:p>
            <a:r>
              <a:rPr lang="de-DE" dirty="0"/>
              <a:t>Group </a:t>
            </a:r>
            <a:r>
              <a:rPr lang="de-DE" dirty="0" err="1"/>
              <a:t>members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79988"/>
            <a:ext cx="10939145" cy="5171031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xternal expert group</a:t>
            </a:r>
            <a:r>
              <a:rPr lang="de-DE" sz="9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bouElkhi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Osama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ch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Dubai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kog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rlingto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inoHealt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s, Ghana), Allen Mega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salama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d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Arentz, Matthew (FIND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Baird Pat (Philips, USA), Balachandra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adeep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eelancer E-Health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stawrou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ndrew (Peek Vision, Global Eye Health, UK), Bathke Arne (University of Salzburg, Austr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iavegatt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lh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lexandre (São Paulo University, Brazil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resswel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hrin (University of Edinburgh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arko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Ernest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roadReac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ca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South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fr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Ehrenfeld Jesse (American Medical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ssociati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AMA), USA), Fehr Jana (Hasso-Plattner-Institute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enec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thew (Una Health, Germany), Fürstenau Daniel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penhag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Business School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nmark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aud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bert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Gilbert Stephen (Technische Universität Dresden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lo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eusz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reave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lix (National Institute for Health and Care Excellence (NICE), UK), Gupt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aurab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ardiolog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All India Institute of Medical Science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ütt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Zdenek (University Hospital Olomouc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zech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Hatton Grac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ensyn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UK), Ho Dean (National University of Singapore, Singapore), Ibrahim Hussei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octors.net.uk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Islam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rifu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rr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za (Pro Care, NZ), Jeo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onghong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Electronics and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elecommuncation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search Institute, South Korea), Joh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omm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George Institute for Global Health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adam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igved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Head of digital access, FIND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erif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rath (LREN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ku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tephanie (WHO, UCL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rty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ichal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apã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uís (Velez) (University of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isb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Portugal), Linder Nina (University of Helsinki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n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Loh Irving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ovey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e (University of Auckland, NZ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grab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rah (Macquarie University, Sydney, Austral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haj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rnav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Medicine, University College Cork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re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lpan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ohi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mu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ondak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MED Health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sud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ki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ossa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huiy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TS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t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ubet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Oxford University Hospitals NHS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undati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Trust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cCradd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elissa (Sick Kids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pspit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Canada), Menezes Audrey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il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Murchison Andrew (Oxford University Hospitals NHS Trust, UK), Murphy Lisa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ent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or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mproving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ta Collaboration at NHSX, UK), Ess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ohamedal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Nakas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s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kere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Uganda), Oala Luis (Fraunhofer Heinrich Hertz Institute (HHI)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nkov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Natali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etadvic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ieku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gata (Health Action Tank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rr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ina (1Doc3, Colomb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edd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andeep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tralia), Salim Ally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chwendick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lk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Sethi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vprit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draprasth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of Information Technology Delhi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oo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rpree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National Health Service (NHS), UK), Sous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ê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aunhofer Portugal, Portugal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rivastav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nish (Virgini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ytechnic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&amp; State Univ.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tarling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Johannes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wt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 Digital Business Solutions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assw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William (Global Auto Systems LTD, Uganda), Werneck Leite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ixandr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Tribal, Mexico)</a:t>
            </a:r>
          </a:p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riting group</a:t>
            </a:r>
            <a:r>
              <a:rPr lang="de-DE" sz="900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Carolan Jane (UCL Institute of Health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ormatic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nnist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lastair (University of Birmingham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arpathaki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ssandra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cimal.Healt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Lee Naomi (National Institute for Health and Care Excellence (NICE), UK), Liu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Xiaoxu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University of Birmingham, UK), Upadhyay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ubhan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Ada Health, Germany), Weicken Eva (Fraunhofer Heinrich Hertz Institute (HHI), Germany), Wilkinson Thomas (Ministry of Health, NZ)</a:t>
            </a:r>
          </a:p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lvl="1"/>
            <a:endParaRPr lang="de-DE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D8D963C3-805B-369A-9AB4-FCCE53451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Timeli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21097FC-3560-4CD8-BE45-94DBE3A62D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evelopment of the framework &amp; deliverable </a:t>
            </a:r>
            <a:endParaRPr lang="en-US" dirty="0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B8A6064-277B-4FC9-99FD-FE2FF232E67D}"/>
              </a:ext>
            </a:extLst>
          </p:cNvPr>
          <p:cNvGraphicFramePr/>
          <p:nvPr/>
        </p:nvGraphicFramePr>
        <p:xfrm>
          <a:off x="1199425" y="2182098"/>
          <a:ext cx="10318177" cy="269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5" name="Google Shape;94;p18">
            <a:extLst>
              <a:ext uri="{FF2B5EF4-FFF2-40B4-BE49-F238E27FC236}">
                <a16:creationId xmlns:a16="http://schemas.microsoft.com/office/drawing/2014/main" id="{4210619B-7A74-0300-B64A-169AAA0A856F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7271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529923"/>
          </a:xfrm>
        </p:spPr>
        <p:txBody>
          <a:bodyPr/>
          <a:lstStyle/>
          <a:p>
            <a:r>
              <a:rPr lang="de-DE" dirty="0"/>
              <a:t>Join WG-CE meeting session tomorrow! </a:t>
            </a:r>
          </a:p>
          <a:p>
            <a:r>
              <a:rPr lang="de-DE" sz="2800" i="1" dirty="0">
                <a:latin typeface="+mn-lt"/>
              </a:rPr>
              <a:t>22nd March, 11:15 – 12:45 EST</a:t>
            </a:r>
          </a:p>
          <a:p>
            <a:endParaRPr lang="de-DE" sz="3200" dirty="0"/>
          </a:p>
          <a:p>
            <a:r>
              <a:rPr lang="de-DE" dirty="0">
                <a:latin typeface="+mn-lt"/>
              </a:rPr>
              <a:t>Update &amp; future direction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B11432CF-5D23-4F82-2731-E600C585E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2908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387A28-EA6A-EDEF-669D-AC6F7B90B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199" y="356273"/>
            <a:ext cx="11233150" cy="382733"/>
          </a:xfrm>
        </p:spPr>
        <p:txBody>
          <a:bodyPr/>
          <a:lstStyle/>
          <a:p>
            <a:r>
              <a:rPr lang="de-DE" dirty="0"/>
              <a:t>Workshop Challenges of development &amp; deployment of AI in clinical setting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860179-8BC3-12E1-CC37-15E12C2B6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articipants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43659C-D237-389D-A4B8-EA7FAEF951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202761" cy="3856633"/>
          </a:xfrm>
        </p:spPr>
        <p:txBody>
          <a:bodyPr/>
          <a:lstStyle/>
          <a:p>
            <a:r>
              <a:rPr lang="de-DE" b="1" dirty="0">
                <a:solidFill>
                  <a:schemeClr val="accent2"/>
                </a:solidFill>
                <a:latin typeface="+mn-lt"/>
              </a:rPr>
              <a:t>Speakers &amp; </a:t>
            </a:r>
            <a:r>
              <a:rPr lang="de-DE" b="1" dirty="0" err="1">
                <a:solidFill>
                  <a:schemeClr val="accent2"/>
                </a:solidFill>
                <a:latin typeface="+mn-lt"/>
              </a:rPr>
              <a:t>Panelists</a:t>
            </a:r>
            <a:endParaRPr lang="de-DE" b="1" dirty="0">
              <a:solidFill>
                <a:schemeClr val="accent2"/>
              </a:solidFill>
              <a:latin typeface="+mn-lt"/>
            </a:endParaRP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Zahra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Hoodbhoy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(The Aga Khan University)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Xiao Liu (University of Birmingham) 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Mark Sendak (Duke University &amp; Duke Institute for Health Innovation)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Melissa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Mc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Cradden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(Hospital of Sick Children)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Rose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Nakasi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(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Makerere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University, Uganda)</a:t>
            </a:r>
          </a:p>
          <a:p>
            <a:endParaRPr lang="de-DE" b="1" dirty="0">
              <a:solidFill>
                <a:schemeClr val="accent2"/>
              </a:solidFill>
              <a:latin typeface="+mn-lt"/>
            </a:endParaRPr>
          </a:p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0BF8D27-ED72-A91F-946A-526F962D83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10399" y="1679576"/>
            <a:ext cx="5437187" cy="1798634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Moderators 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Kassandra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Karpathakis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(Harvard University) </a:t>
            </a:r>
          </a:p>
          <a:p>
            <a:r>
              <a:rPr lang="de-DE" dirty="0">
                <a:solidFill>
                  <a:schemeClr val="tx1"/>
                </a:solidFill>
                <a:latin typeface="+mn-lt"/>
              </a:rPr>
              <a:t>Alastair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Denniston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(University of Birmingham)</a:t>
            </a:r>
          </a:p>
          <a:p>
            <a:endParaRPr lang="de-DE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1436289C-86CC-6E22-3791-82137C993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848" y="5324438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2047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519181" y="4045848"/>
            <a:ext cx="5916612" cy="1450910"/>
          </a:xfrm>
        </p:spPr>
        <p:txBody>
          <a:bodyPr/>
          <a:lstStyle/>
          <a:p>
            <a:r>
              <a:rPr lang="de-DE" dirty="0"/>
              <a:t>Get involved &amp; Contac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va.weicken@hhi.fraunhofer.de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B194B718-8346-94DD-B401-7094861CD8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GAI4H-R-000_PPT-Template-16x9.pptx" id="{EE62FBBD-1DFB-4F85-A153-1F32815DB8B8}" vid="{76AE4977-3825-43F0-AE2D-270D4A2CC77D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6F93BF-F4E2-4EF8-99ED-C3527B999CF0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FGAI4H-R-000_PPT-Template-16x9</Template>
  <TotalTime>15</TotalTime>
  <Words>1070</Words>
  <Application>Microsoft Office PowerPoint</Application>
  <PresentationFormat>Widescreen</PresentationFormat>
  <Paragraphs>8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等线</vt:lpstr>
      <vt:lpstr>Arial</vt:lpstr>
      <vt:lpstr>Calibri</vt:lpstr>
      <vt:lpstr>Calibri Light</vt:lpstr>
      <vt:lpstr>Frutiger LT Com 45 Light</vt:lpstr>
      <vt:lpstr>Frutiger LT Com 55 Roman</vt:lpstr>
      <vt:lpstr>Frutiger LT Com 65 Bold</vt:lpstr>
      <vt:lpstr>Wingdings</vt:lpstr>
      <vt:lpstr>Office 主题​​</vt:lpstr>
      <vt:lpstr>Fraunhofer_Master_16-9</vt:lpstr>
      <vt:lpstr>think-cell Folie</vt:lpstr>
      <vt:lpstr>PowerPoint Presentation</vt:lpstr>
      <vt:lpstr>PowerPoint Presentation</vt:lpstr>
      <vt:lpstr>PowerPoint Presentation</vt:lpstr>
      <vt:lpstr>Purpose </vt:lpstr>
      <vt:lpstr>Collaboration</vt:lpstr>
      <vt:lpstr>Timeline</vt:lpstr>
      <vt:lpstr>PowerPoint Presentation</vt:lpstr>
      <vt:lpstr>Workshop Challenges of development &amp; deployment of AI in clinical setting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7 - Presentation - Challenges of development &amp; deployment of AI in clinical settings</dc:title>
  <dc:creator>TSB (HT)</dc:creator>
  <cp:lastModifiedBy>TSB (HT)</cp:lastModifiedBy>
  <cp:revision>1</cp:revision>
  <cp:lastPrinted>2019-04-04T08:49:31Z</cp:lastPrinted>
  <dcterms:created xsi:type="dcterms:W3CDTF">2023-03-22T09:39:13Z</dcterms:created>
  <dcterms:modified xsi:type="dcterms:W3CDTF">2023-03-22T09:5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